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62" r:id="rId4"/>
    <p:sldMasterId id="2147483672" r:id="rId5"/>
    <p:sldMasterId id="2147483683" r:id="rId6"/>
    <p:sldMasterId id="2147483692" r:id="rId7"/>
    <p:sldMasterId id="2147483701" r:id="rId8"/>
    <p:sldMasterId id="2147483709" r:id="rId9"/>
  </p:sldMasterIdLst>
  <p:notesMasterIdLst>
    <p:notesMasterId r:id="rId11"/>
  </p:notesMasterIdLst>
  <p:sldIdLst>
    <p:sldId id="2147471970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6A02F1A-A17E-60DE-8E54-71178369CDFB}" name="Tressler, Randall (NIH/NIAID) [E]" initials="TR([" userId="S::tresslerrl@nih.gov::3827abba-5e69-46fa-bdc2-8380cab1e4eb" providerId="AD"/>
  <p188:author id="{5405693D-903E-E368-2FF9-94EF23C358B3}" name="Draghia Akli, Ruxandra [JRDUS]" initials="DAR[" userId="S::RDraghia@its.jnj.com::4e4f2d4c-863d-420c-b5ce-04a0c98f2c4c" providerId="AD"/>
  <p188:author id="{2F92A347-FB37-1E0D-FAFA-3A23F3AB142E}" name="Adam, Stacey (FNIH) [T]" initials="AS([" userId="S::adamsj4@nih.gov::9d641231-8a0d-4f72-895e-b50dc2c9f8d0" providerId="AD"/>
  <p188:author id="{E8706C48-3307-D8BC-34B5-90A5B7C78768}" name="Alex C" initials="AC" userId="Alex C" providerId="None"/>
  <p188:author id="{7EFD7ED7-DD39-DAA7-5002-827B34CED431}" name="Marriott, Brittany" initials="MB" userId="S::brmarriott@deloitte.com::39c20b5f-ca24-4d2f-b3ef-24c09bb36c1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sr, Hana" initials="NH" lastIdx="2" clrIdx="0">
    <p:extLst>
      <p:ext uri="{19B8F6BF-5375-455C-9EA6-DF929625EA0E}">
        <p15:presenceInfo xmlns:p15="http://schemas.microsoft.com/office/powerpoint/2012/main" userId="S::hanasr@deloitte.com::655ea5bb-1e02-4b90-883f-738b37d8fd1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E42"/>
    <a:srgbClr val="006393"/>
    <a:srgbClr val="7D7D7D"/>
    <a:srgbClr val="F8ECEF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66" y="7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commentAuthors" Target="commentAuthor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0D82E0-E325-406D-82AC-3634230EE164}" type="datetimeFigureOut">
              <a:rPr lang="en-US" smtClean="0"/>
              <a:t>5/2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793B9B-CF03-4AD6-8637-F8B7DC2887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2387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793B9B-CF03-4AD6-8637-F8B7DC28872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5215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7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8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264" rtl="0" eaLnBrk="1" latinLnBrk="0" hangingPunct="1">
              <a:spcBef>
                <a:spcPct val="0"/>
              </a:spcBef>
              <a:buNone/>
              <a:defRPr lang="en-US" sz="2401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DFCB619-9285-4739-98EF-DE8D23A5C71E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E1EB0B4-4F9B-42FE-91E4-4863A529A432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0527AAB-7908-41DD-8526-4567330DAF6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1E9B615-F7C2-4020-8C52-02DBF5E91BEB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23" name="FNIHnotext.png" descr="FNIHnotext.png">
            <a:extLst>
              <a:ext uri="{FF2B5EF4-FFF2-40B4-BE49-F238E27FC236}">
                <a16:creationId xmlns:a16="http://schemas.microsoft.com/office/drawing/2014/main" id="{F5BC477F-083E-4EB7-AAD1-94C4FE3436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079" y="6272429"/>
            <a:ext cx="1166533" cy="40978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00124569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2AA4D10-945A-4EAA-A762-B970357C092F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848915A-5C7B-416F-B5B0-7693F5EE0BF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FCA6CAC-7815-469B-9315-157CA98B8F24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8AF41DF-170C-4192-8044-63BF6EC31434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1688" y="238608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264" rtl="0" eaLnBrk="1" latinLnBrk="0" hangingPunct="1">
              <a:spcBef>
                <a:spcPct val="0"/>
              </a:spcBef>
              <a:buNone/>
              <a:defRPr lang="en-US" sz="2401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5" name="FNIHnotext.png" descr="FNIHnotext.png">
            <a:extLst>
              <a:ext uri="{FF2B5EF4-FFF2-40B4-BE49-F238E27FC236}">
                <a16:creationId xmlns:a16="http://schemas.microsoft.com/office/drawing/2014/main" id="{8D5EE795-233D-420E-9798-B7F490CC95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079" y="6272429"/>
            <a:ext cx="1166533" cy="40978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03838019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lu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81F4BFD-D739-45E9-A5F7-B65C303EBE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7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888AA7F6-93E3-47B9-B824-23C23159D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8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264" rtl="0" eaLnBrk="1" latinLnBrk="0" hangingPunct="1">
              <a:spcBef>
                <a:spcPct val="0"/>
              </a:spcBef>
              <a:buNone/>
              <a:defRPr lang="en-US" sz="2401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D2CCCC8-6E9D-4FF6-B036-BC2D6075147C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09A356B-53AB-4900-8F7D-18DBFEFDFAFA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63D47E5-7F67-428E-98CB-4887352202DC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D5D5F63-D7FF-454D-9207-6E49D63BD145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19" name="FNIHnotext.png" descr="FNIHnotext.png">
            <a:extLst>
              <a:ext uri="{FF2B5EF4-FFF2-40B4-BE49-F238E27FC236}">
                <a16:creationId xmlns:a16="http://schemas.microsoft.com/office/drawing/2014/main" id="{DF2B734C-D74B-456A-AABB-E7312F8D64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079" y="6272429"/>
            <a:ext cx="1166533" cy="40978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0152717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een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E1F3FF1B-A2E0-4F96-A389-BB2B255F45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7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F2F2390C-D6B8-49CE-B13F-EA5A79111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8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264" rtl="0" eaLnBrk="1" latinLnBrk="0" hangingPunct="1">
              <a:spcBef>
                <a:spcPct val="0"/>
              </a:spcBef>
              <a:buNone/>
              <a:defRPr lang="en-US" sz="2401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D2E10BA-1A12-4F3F-BFCB-EDF85D773CA7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D64B100-00A0-462A-9B92-B4D1AC64D4CD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D4692EE-3591-4933-9FE2-28B4C5B682DE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3C04DBB-B2D6-4606-BECF-1B290681E8E8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20" name="FNIHnotext.png" descr="FNIHnotext.png">
            <a:extLst>
              <a:ext uri="{FF2B5EF4-FFF2-40B4-BE49-F238E27FC236}">
                <a16:creationId xmlns:a16="http://schemas.microsoft.com/office/drawing/2014/main" id="{51038A56-8563-4F60-A928-3DC06959D2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079" y="6272429"/>
            <a:ext cx="1166533" cy="40978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2494893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 with quo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8E809F-C202-472B-8F13-E808541E1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3106715"/>
              </p:ext>
            </p:extLst>
          </p:nvPr>
        </p:nvGraphicFramePr>
        <p:xfrm>
          <a:off x="1588" y="1593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8E809F-C202-472B-8F13-E808541E1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8E01DC-D6B2-454E-895F-16D713C7FA4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3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401" b="1" i="0" baseline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B9F29-C1EA-4126-80E1-555E1176BD33}"/>
              </a:ext>
            </a:extLst>
          </p:cNvPr>
          <p:cNvSpPr/>
          <p:nvPr userDrawn="1"/>
        </p:nvSpPr>
        <p:spPr bwMode="gray">
          <a:xfrm>
            <a:off x="11568701" y="6482999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899" tIns="88899" rIns="88899" bIns="88899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631B3D0-2265-4B7D-8B78-8CB08C1F7261}"/>
              </a:ext>
            </a:extLst>
          </p:cNvPr>
          <p:cNvGrpSpPr/>
          <p:nvPr userDrawn="1"/>
        </p:nvGrpSpPr>
        <p:grpSpPr>
          <a:xfrm rot="5400000">
            <a:off x="6051804" y="-1864384"/>
            <a:ext cx="91440" cy="12188952"/>
            <a:chOff x="-1188" y="-3628"/>
            <a:chExt cx="91440" cy="662577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D3234ED-C51F-4EDF-86B3-D88272B763B3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8E29903-C775-4C05-8A24-B90817745A10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CF5E782-88C1-4F9B-987A-DA071E8CBB3A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48345325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ntent with quot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33956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8AD836-1732-426D-8AD3-84BEC5B490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2401365"/>
              </p:ext>
            </p:extLst>
          </p:nvPr>
        </p:nvGraphicFramePr>
        <p:xfrm>
          <a:off x="1588" y="1593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8AD836-1732-426D-8AD3-84BEC5B49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">
            <a:extLst>
              <a:ext uri="{FF2B5EF4-FFF2-40B4-BE49-F238E27FC236}">
                <a16:creationId xmlns:a16="http://schemas.microsoft.com/office/drawing/2014/main" id="{3CFF761D-5CBA-4C58-A8B8-A9672B269D41}"/>
              </a:ext>
            </a:extLst>
          </p:cNvPr>
          <p:cNvSpPr/>
          <p:nvPr userDrawn="1"/>
        </p:nvSpPr>
        <p:spPr>
          <a:xfrm>
            <a:off x="-1188" y="1"/>
            <a:ext cx="12193188" cy="4590151"/>
          </a:xfrm>
          <a:prstGeom prst="rect">
            <a:avLst/>
          </a:prstGeom>
          <a:gradFill>
            <a:gsLst>
              <a:gs pos="0">
                <a:srgbClr val="FFFFFF"/>
              </a:gs>
              <a:gs pos="100000">
                <a:schemeClr val="accent3"/>
              </a:gs>
            </a:gsLst>
            <a:lin ang="2700000"/>
          </a:gradFill>
          <a:ln w="12700">
            <a:miter lim="400000"/>
          </a:ln>
        </p:spPr>
        <p:txBody>
          <a:bodyPr lIns="0" tIns="0" rIns="0" bIns="0" anchor="ctr"/>
          <a:lstStyle/>
          <a:p>
            <a:pPr defTabSz="609618">
              <a:defRPr sz="1800" b="0">
                <a:solidFill>
                  <a:srgbClr val="FFFFFF"/>
                </a:solidFill>
              </a:defRPr>
            </a:pPr>
            <a:endParaRPr sz="240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407865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1" b="1">
                <a:solidFill>
                  <a:schemeClr val="accent1"/>
                </a:solidFill>
              </a:defRPr>
            </a:lvl1pPr>
            <a:lvl2pPr marL="0" indent="0" algn="l">
              <a:buNone/>
              <a:defRPr sz="2000" b="0"/>
            </a:lvl2pPr>
            <a:lvl3pPr marL="1219264" indent="0" algn="ctr">
              <a:buNone/>
              <a:defRPr sz="2401"/>
            </a:lvl3pPr>
            <a:lvl4pPr marL="1828895" indent="0" algn="ctr">
              <a:buNone/>
              <a:defRPr sz="2134"/>
            </a:lvl4pPr>
            <a:lvl5pPr marL="2438529" indent="0" algn="ctr">
              <a:buNone/>
              <a:defRPr sz="2134"/>
            </a:lvl5pPr>
            <a:lvl6pPr marL="3048162" indent="0" algn="ctr">
              <a:buNone/>
              <a:defRPr sz="2134"/>
            </a:lvl6pPr>
            <a:lvl7pPr marL="3657793" indent="0" algn="ctr">
              <a:buNone/>
              <a:defRPr sz="2134"/>
            </a:lvl7pPr>
            <a:lvl8pPr marL="4267424" indent="0" algn="ctr">
              <a:buNone/>
              <a:defRPr sz="2134"/>
            </a:lvl8pPr>
            <a:lvl9pPr marL="4877058" indent="0" algn="ctr">
              <a:buNone/>
              <a:defRPr sz="2134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30" y="5925385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pic>
        <p:nvPicPr>
          <p:cNvPr id="17" name="FNIH-LOGO-2013_vector [Converted].png" descr="FNIH-LOGO-2013_vector [Converted].png">
            <a:extLst>
              <a:ext uri="{FF2B5EF4-FFF2-40B4-BE49-F238E27FC236}">
                <a16:creationId xmlns:a16="http://schemas.microsoft.com/office/drawing/2014/main" id="{59EF7C65-C5EA-42CA-B1B3-5A3AB373CE4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878695" y="1939570"/>
            <a:ext cx="3758744" cy="160726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FB213BFD-2978-4EA3-A7B9-19C2563173B7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838AEBA-520B-4BDA-AAC9-3618050B595F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158DC1F-5D62-4A65-A8F3-485E67C8B8C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2FDA38-A9EA-4DDB-8E75-E755D85B991C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4807669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2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264" indent="0" algn="ctr">
              <a:buNone/>
              <a:defRPr sz="2401"/>
            </a:lvl3pPr>
            <a:lvl4pPr marL="1828895" indent="0" algn="ctr">
              <a:buNone/>
              <a:defRPr sz="2134"/>
            </a:lvl4pPr>
            <a:lvl5pPr marL="2438529" indent="0" algn="ctr">
              <a:buNone/>
              <a:defRPr sz="2134"/>
            </a:lvl5pPr>
            <a:lvl6pPr marL="3048162" indent="0" algn="ctr">
              <a:buNone/>
              <a:defRPr sz="2134"/>
            </a:lvl6pPr>
            <a:lvl7pPr marL="3657793" indent="0" algn="ctr">
              <a:buNone/>
              <a:defRPr sz="2134"/>
            </a:lvl7pPr>
            <a:lvl8pPr marL="4267424" indent="0" algn="ctr">
              <a:buNone/>
              <a:defRPr sz="2134"/>
            </a:lvl8pPr>
            <a:lvl9pPr marL="4877058" indent="0" algn="ctr">
              <a:buNone/>
              <a:defRPr sz="2134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30" y="6362704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pic>
        <p:nvPicPr>
          <p:cNvPr id="18" name="FNIH-LOGO-2013_vector [Converted].png" descr="FNIH-LOGO-2013_vector [Converted].png">
            <a:extLst>
              <a:ext uri="{FF2B5EF4-FFF2-40B4-BE49-F238E27FC236}">
                <a16:creationId xmlns:a16="http://schemas.microsoft.com/office/drawing/2014/main" id="{082DEAF1-17C5-4626-85F4-3DF6E6E5A1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5331" y="147725"/>
            <a:ext cx="1681233" cy="718905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90811136-3853-4C1D-BA9B-2AFDCEB4B9B0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66D630A-AEE8-4343-BA3F-6EE25EC80491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013A969C-9D9B-478B-9FDF-875C727DB225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683932D-6965-4E5F-B6F9-45F654680314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7671011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1" b="1" i="0">
                <a:solidFill>
                  <a:srgbClr val="252525"/>
                </a:solidFill>
                <a:latin typeface="Segoe UI"/>
                <a:cs typeface="Segoe U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6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650" b="0" i="0">
                <a:solidFill>
                  <a:schemeClr val="tx1"/>
                </a:solidFill>
                <a:latin typeface="Segoe UI"/>
                <a:cs typeface="Segoe UI"/>
              </a:defRPr>
            </a:lvl1pPr>
          </a:lstStyle>
          <a:p>
            <a:pPr marL="38102">
              <a:spcBef>
                <a:spcPts val="140"/>
              </a:spcBef>
            </a:pPr>
            <a:fld id="{81D60167-4931-47E6-BA6A-407CBD079E47}" type="slidenum">
              <a:rPr lang="en-US" spc="-10" smtClean="0"/>
              <a:pPr marL="38102">
                <a:spcBef>
                  <a:spcPts val="140"/>
                </a:spcBef>
              </a:pPr>
              <a:t>‹#›</a:t>
            </a:fld>
            <a:endParaRPr lang="en-US" spc="-10"/>
          </a:p>
        </p:txBody>
      </p:sp>
    </p:spTree>
    <p:extLst>
      <p:ext uri="{BB962C8B-B14F-4D97-AF65-F5344CB8AC3E}">
        <p14:creationId xmlns:p14="http://schemas.microsoft.com/office/powerpoint/2010/main" val="9892823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7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8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264" rtl="0" eaLnBrk="1" latinLnBrk="0" hangingPunct="1">
              <a:spcBef>
                <a:spcPct val="0"/>
              </a:spcBef>
              <a:buNone/>
              <a:defRPr lang="en-US" sz="2401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DFCB619-9285-4739-98EF-DE8D23A5C71E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E1EB0B4-4F9B-42FE-91E4-4863A529A432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0527AAB-7908-41DD-8526-4567330DAF6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1E9B615-F7C2-4020-8C52-02DBF5E91BEB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23" name="FNIHnotext.png" descr="FNIHnotext.png">
            <a:extLst>
              <a:ext uri="{FF2B5EF4-FFF2-40B4-BE49-F238E27FC236}">
                <a16:creationId xmlns:a16="http://schemas.microsoft.com/office/drawing/2014/main" id="{F5BC477F-083E-4EB7-AAD1-94C4FE3436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079" y="6272429"/>
            <a:ext cx="1166533" cy="40978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0886018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2AA4D10-945A-4EAA-A762-B970357C092F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848915A-5C7B-416F-B5B0-7693F5EE0BF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FCA6CAC-7815-469B-9315-157CA98B8F24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8AF41DF-170C-4192-8044-63BF6EC31434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1688" y="238608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264" rtl="0" eaLnBrk="1" latinLnBrk="0" hangingPunct="1">
              <a:spcBef>
                <a:spcPct val="0"/>
              </a:spcBef>
              <a:buNone/>
              <a:defRPr lang="en-US" sz="2401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5" name="FNIHnotext.png" descr="FNIHnotext.png">
            <a:extLst>
              <a:ext uri="{FF2B5EF4-FFF2-40B4-BE49-F238E27FC236}">
                <a16:creationId xmlns:a16="http://schemas.microsoft.com/office/drawing/2014/main" id="{8D5EE795-233D-420E-9798-B7F490CC95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079" y="6272429"/>
            <a:ext cx="1166533" cy="40978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80632236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9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899" tIns="88899" rIns="88899" bIns="88899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2AA4D10-945A-4EAA-A762-B970357C092F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848915A-5C7B-416F-B5B0-7693F5EE0BF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FCA6CAC-7815-469B-9315-157CA98B8F24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8AF41DF-170C-4192-8044-63BF6EC31434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1688" y="238608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264" rtl="0" eaLnBrk="1" latinLnBrk="0" hangingPunct="1">
              <a:spcBef>
                <a:spcPct val="0"/>
              </a:spcBef>
              <a:buNone/>
              <a:defRPr lang="en-US" sz="2401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5" name="FNIHnotext.png" descr="FNIHnotext.png">
            <a:extLst>
              <a:ext uri="{FF2B5EF4-FFF2-40B4-BE49-F238E27FC236}">
                <a16:creationId xmlns:a16="http://schemas.microsoft.com/office/drawing/2014/main" id="{8D5EE795-233D-420E-9798-B7F490CC95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079" y="6272429"/>
            <a:ext cx="1166533" cy="409787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BFF57B9-8CFE-4685-B315-711FCC7A952A}"/>
              </a:ext>
            </a:extLst>
          </p:cNvPr>
          <p:cNvSpPr txBox="1"/>
          <p:nvPr userDrawn="1"/>
        </p:nvSpPr>
        <p:spPr>
          <a:xfrm>
            <a:off x="8641056" y="32922"/>
            <a:ext cx="3301373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spcBef>
                <a:spcPts val="200"/>
              </a:spcBef>
              <a:buSzPct val="100000"/>
            </a:pPr>
            <a:r>
              <a:rPr lang="en-US" sz="1400" b="1" i="1">
                <a:solidFill>
                  <a:srgbClr val="FF0000"/>
                </a:solidFill>
              </a:rPr>
              <a:t>Confidential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717556555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lu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81F4BFD-D739-45E9-A5F7-B65C303EBE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7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888AA7F6-93E3-47B9-B824-23C23159D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8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264" rtl="0" eaLnBrk="1" latinLnBrk="0" hangingPunct="1">
              <a:spcBef>
                <a:spcPct val="0"/>
              </a:spcBef>
              <a:buNone/>
              <a:defRPr lang="en-US" sz="2401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D2CCCC8-6E9D-4FF6-B036-BC2D6075147C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09A356B-53AB-4900-8F7D-18DBFEFDFAFA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63D47E5-7F67-428E-98CB-4887352202DC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D5D5F63-D7FF-454D-9207-6E49D63BD145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19" name="FNIHnotext.png" descr="FNIHnotext.png">
            <a:extLst>
              <a:ext uri="{FF2B5EF4-FFF2-40B4-BE49-F238E27FC236}">
                <a16:creationId xmlns:a16="http://schemas.microsoft.com/office/drawing/2014/main" id="{DF2B734C-D74B-456A-AABB-E7312F8D64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079" y="6272429"/>
            <a:ext cx="1166533" cy="409787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5A24EA9B-7A3B-47C7-A055-B817DE8D606D}"/>
              </a:ext>
            </a:extLst>
          </p:cNvPr>
          <p:cNvSpPr txBox="1"/>
          <p:nvPr userDrawn="1"/>
        </p:nvSpPr>
        <p:spPr>
          <a:xfrm>
            <a:off x="8641056" y="32922"/>
            <a:ext cx="3301373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spcBef>
                <a:spcPts val="200"/>
              </a:spcBef>
              <a:buSzPct val="100000"/>
            </a:pPr>
            <a:r>
              <a:rPr lang="en-US" sz="1400" b="1" i="1">
                <a:solidFill>
                  <a:srgbClr val="FF0000"/>
                </a:solidFill>
              </a:rPr>
              <a:t>Confidential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0783063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een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E1F3FF1B-A2E0-4F96-A389-BB2B255F45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7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F2F2390C-D6B8-49CE-B13F-EA5A79111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8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264" rtl="0" eaLnBrk="1" latinLnBrk="0" hangingPunct="1">
              <a:spcBef>
                <a:spcPct val="0"/>
              </a:spcBef>
              <a:buNone/>
              <a:defRPr lang="en-US" sz="2401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D2E10BA-1A12-4F3F-BFCB-EDF85D773CA7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D64B100-00A0-462A-9B92-B4D1AC64D4CD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D4692EE-3591-4933-9FE2-28B4C5B682DE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3C04DBB-B2D6-4606-BECF-1B290681E8E8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20" name="FNIHnotext.png" descr="FNIHnotext.png">
            <a:extLst>
              <a:ext uri="{FF2B5EF4-FFF2-40B4-BE49-F238E27FC236}">
                <a16:creationId xmlns:a16="http://schemas.microsoft.com/office/drawing/2014/main" id="{51038A56-8563-4F60-A928-3DC06959D2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079" y="6272429"/>
            <a:ext cx="1166533" cy="40978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77DF9D6-B152-4D86-B4F7-B178A2D6242F}"/>
              </a:ext>
            </a:extLst>
          </p:cNvPr>
          <p:cNvSpPr txBox="1"/>
          <p:nvPr userDrawn="1"/>
        </p:nvSpPr>
        <p:spPr>
          <a:xfrm>
            <a:off x="8641056" y="32922"/>
            <a:ext cx="3301373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spcBef>
                <a:spcPts val="200"/>
              </a:spcBef>
              <a:buSzPct val="100000"/>
            </a:pPr>
            <a:r>
              <a:rPr lang="en-US" sz="1400" b="1" i="1">
                <a:solidFill>
                  <a:srgbClr val="FF0000"/>
                </a:solidFill>
              </a:rPr>
              <a:t>Confidential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17707235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 with quo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8E809F-C202-472B-8F13-E808541E1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4520804"/>
              </p:ext>
            </p:extLst>
          </p:nvPr>
        </p:nvGraphicFramePr>
        <p:xfrm>
          <a:off x="1588" y="1593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8E809F-C202-472B-8F13-E808541E1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8E01DC-D6B2-454E-895F-16D713C7FA4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3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401" b="1" i="0" baseline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B9F29-C1EA-4126-80E1-555E1176BD33}"/>
              </a:ext>
            </a:extLst>
          </p:cNvPr>
          <p:cNvSpPr/>
          <p:nvPr userDrawn="1"/>
        </p:nvSpPr>
        <p:spPr bwMode="gray">
          <a:xfrm>
            <a:off x="11568701" y="6482999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899" tIns="88899" rIns="88899" bIns="88899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631B3D0-2265-4B7D-8B78-8CB08C1F7261}"/>
              </a:ext>
            </a:extLst>
          </p:cNvPr>
          <p:cNvGrpSpPr/>
          <p:nvPr userDrawn="1"/>
        </p:nvGrpSpPr>
        <p:grpSpPr>
          <a:xfrm rot="5400000">
            <a:off x="6051804" y="-1864384"/>
            <a:ext cx="91440" cy="12188952"/>
            <a:chOff x="-1188" y="-3628"/>
            <a:chExt cx="91440" cy="662577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D3234ED-C51F-4EDF-86B3-D88272B763B3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8E29903-C775-4C05-8A24-B90817745A10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CF5E782-88C1-4F9B-987A-DA071E8CBB3A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37172418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ntent with quot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48058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8AD836-1732-426D-8AD3-84BEC5B490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6264467"/>
              </p:ext>
            </p:extLst>
          </p:nvPr>
        </p:nvGraphicFramePr>
        <p:xfrm>
          <a:off x="1588" y="1593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8AD836-1732-426D-8AD3-84BEC5B49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">
            <a:extLst>
              <a:ext uri="{FF2B5EF4-FFF2-40B4-BE49-F238E27FC236}">
                <a16:creationId xmlns:a16="http://schemas.microsoft.com/office/drawing/2014/main" id="{3CFF761D-5CBA-4C58-A8B8-A9672B269D41}"/>
              </a:ext>
            </a:extLst>
          </p:cNvPr>
          <p:cNvSpPr/>
          <p:nvPr userDrawn="1"/>
        </p:nvSpPr>
        <p:spPr>
          <a:xfrm>
            <a:off x="-1188" y="1"/>
            <a:ext cx="12193188" cy="4590151"/>
          </a:xfrm>
          <a:prstGeom prst="rect">
            <a:avLst/>
          </a:prstGeom>
          <a:gradFill>
            <a:gsLst>
              <a:gs pos="0">
                <a:srgbClr val="FFFFFF"/>
              </a:gs>
              <a:gs pos="100000">
                <a:schemeClr val="accent3"/>
              </a:gs>
            </a:gsLst>
            <a:lin ang="2700000"/>
          </a:gradFill>
          <a:ln w="12700">
            <a:miter lim="400000"/>
          </a:ln>
        </p:spPr>
        <p:txBody>
          <a:bodyPr lIns="0" tIns="0" rIns="0" bIns="0" anchor="ctr"/>
          <a:lstStyle/>
          <a:p>
            <a:pPr defTabSz="609618">
              <a:defRPr sz="1800" b="0">
                <a:solidFill>
                  <a:srgbClr val="FFFFFF"/>
                </a:solidFill>
              </a:defRPr>
            </a:pPr>
            <a:endParaRPr sz="240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407865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1" b="1">
                <a:solidFill>
                  <a:schemeClr val="accent1"/>
                </a:solidFill>
              </a:defRPr>
            </a:lvl1pPr>
            <a:lvl2pPr marL="0" indent="0" algn="l">
              <a:buNone/>
              <a:defRPr sz="2000" b="0"/>
            </a:lvl2pPr>
            <a:lvl3pPr marL="1219264" indent="0" algn="ctr">
              <a:buNone/>
              <a:defRPr sz="2401"/>
            </a:lvl3pPr>
            <a:lvl4pPr marL="1828895" indent="0" algn="ctr">
              <a:buNone/>
              <a:defRPr sz="2134"/>
            </a:lvl4pPr>
            <a:lvl5pPr marL="2438529" indent="0" algn="ctr">
              <a:buNone/>
              <a:defRPr sz="2134"/>
            </a:lvl5pPr>
            <a:lvl6pPr marL="3048162" indent="0" algn="ctr">
              <a:buNone/>
              <a:defRPr sz="2134"/>
            </a:lvl6pPr>
            <a:lvl7pPr marL="3657793" indent="0" algn="ctr">
              <a:buNone/>
              <a:defRPr sz="2134"/>
            </a:lvl7pPr>
            <a:lvl8pPr marL="4267424" indent="0" algn="ctr">
              <a:buNone/>
              <a:defRPr sz="2134"/>
            </a:lvl8pPr>
            <a:lvl9pPr marL="4877058" indent="0" algn="ctr">
              <a:buNone/>
              <a:defRPr sz="2134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30" y="5925385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pic>
        <p:nvPicPr>
          <p:cNvPr id="17" name="FNIH-LOGO-2013_vector [Converted].png" descr="FNIH-LOGO-2013_vector [Converted].png">
            <a:extLst>
              <a:ext uri="{FF2B5EF4-FFF2-40B4-BE49-F238E27FC236}">
                <a16:creationId xmlns:a16="http://schemas.microsoft.com/office/drawing/2014/main" id="{59EF7C65-C5EA-42CA-B1B3-5A3AB373CE4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8695" y="1939570"/>
            <a:ext cx="3758744" cy="160726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FB213BFD-2978-4EA3-A7B9-19C2563173B7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838AEBA-520B-4BDA-AAC9-3618050B595F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158DC1F-5D62-4A65-A8F3-485E67C8B8C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2FDA38-A9EA-4DDB-8E75-E755D85B991C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41776599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rgbClr val="006293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935" b="0" i="0">
                <a:solidFill>
                  <a:srgbClr val="006292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6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5606696" y="8595889"/>
            <a:ext cx="302968" cy="243655"/>
          </a:xfrm>
        </p:spPr>
        <p:txBody>
          <a:bodyPr lIns="0" tIns="0" rIns="0" bIns="0"/>
          <a:lstStyle>
            <a:lvl1pPr>
              <a:defRPr sz="1600" b="1" i="0">
                <a:solidFill>
                  <a:srgbClr val="006293"/>
                </a:solidFill>
                <a:latin typeface="Arial"/>
                <a:cs typeface="Arial"/>
              </a:defRPr>
            </a:lvl1pPr>
          </a:lstStyle>
          <a:p>
            <a:pPr marL="50803">
              <a:lnSpc>
                <a:spcPts val="1901"/>
              </a:lnSpc>
            </a:pPr>
            <a:fld id="{81D60167-4931-47E6-BA6A-407CBD079E47}" type="slidenum">
              <a:rPr lang="en-US" smtClean="0"/>
              <a:pPr marL="50803">
                <a:lnSpc>
                  <a:spcPts val="1901"/>
                </a:lnSpc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6948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9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899" tIns="88899" rIns="88899" bIns="88899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60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1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1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7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8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264" rtl="0" eaLnBrk="1" latinLnBrk="0" hangingPunct="1">
              <a:spcBef>
                <a:spcPct val="0"/>
              </a:spcBef>
              <a:buNone/>
              <a:defRPr lang="en-US" sz="2401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DFCB619-9285-4739-98EF-DE8D23A5C71E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E1EB0B4-4F9B-42FE-91E4-4863A529A432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0527AAB-7908-41DD-8526-4567330DAF6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1E9B615-F7C2-4020-8C52-02DBF5E91BEB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23" name="FNIHnotext.png" descr="FNIHnotext.png">
            <a:extLst>
              <a:ext uri="{FF2B5EF4-FFF2-40B4-BE49-F238E27FC236}">
                <a16:creationId xmlns:a16="http://schemas.microsoft.com/office/drawing/2014/main" id="{F5BC477F-083E-4EB7-AAD1-94C4FE3436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079" y="6272429"/>
            <a:ext cx="1166533" cy="40978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7003550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92AA4D10-945A-4EAA-A762-B970357C092F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848915A-5C7B-416F-B5B0-7693F5EE0BF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FCA6CAC-7815-469B-9315-157CA98B8F24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8AF41DF-170C-4192-8044-63BF6EC31434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1688" y="238608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264" rtl="0" eaLnBrk="1" latinLnBrk="0" hangingPunct="1">
              <a:spcBef>
                <a:spcPct val="0"/>
              </a:spcBef>
              <a:buNone/>
              <a:defRPr lang="en-US" sz="2401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5" name="FNIHnotext.png" descr="FNIHnotext.png">
            <a:extLst>
              <a:ext uri="{FF2B5EF4-FFF2-40B4-BE49-F238E27FC236}">
                <a16:creationId xmlns:a16="http://schemas.microsoft.com/office/drawing/2014/main" id="{8D5EE795-233D-420E-9798-B7F490CC95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079" y="6272429"/>
            <a:ext cx="1166533" cy="40978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6314359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lu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81F4BFD-D739-45E9-A5F7-B65C303EBE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7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888AA7F6-93E3-47B9-B824-23C23159D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8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264" rtl="0" eaLnBrk="1" latinLnBrk="0" hangingPunct="1">
              <a:spcBef>
                <a:spcPct val="0"/>
              </a:spcBef>
              <a:buNone/>
              <a:defRPr lang="en-US" sz="2401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D2CCCC8-6E9D-4FF6-B036-BC2D6075147C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09A356B-53AB-4900-8F7D-18DBFEFDFAFA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63D47E5-7F67-428E-98CB-4887352202DC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D5D5F63-D7FF-454D-9207-6E49D63BD145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19" name="FNIHnotext.png" descr="FNIHnotext.png">
            <a:extLst>
              <a:ext uri="{FF2B5EF4-FFF2-40B4-BE49-F238E27FC236}">
                <a16:creationId xmlns:a16="http://schemas.microsoft.com/office/drawing/2014/main" id="{DF2B734C-D74B-456A-AABB-E7312F8D64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079" y="6272429"/>
            <a:ext cx="1166533" cy="409787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5A24EA9B-7A3B-47C7-A055-B817DE8D606D}"/>
              </a:ext>
            </a:extLst>
          </p:cNvPr>
          <p:cNvSpPr txBox="1"/>
          <p:nvPr userDrawn="1"/>
        </p:nvSpPr>
        <p:spPr>
          <a:xfrm>
            <a:off x="8641056" y="32922"/>
            <a:ext cx="3301373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spcBef>
                <a:spcPts val="200"/>
              </a:spcBef>
              <a:buSzPct val="100000"/>
            </a:pPr>
            <a:r>
              <a:rPr lang="en-US" sz="1400" b="1" i="1">
                <a:solidFill>
                  <a:srgbClr val="FF0000"/>
                </a:solidFill>
              </a:rPr>
              <a:t>Confidential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30976238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een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E1F3FF1B-A2E0-4F96-A389-BB2B255F45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7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F2F2390C-D6B8-49CE-B13F-EA5A79111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8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264" rtl="0" eaLnBrk="1" latinLnBrk="0" hangingPunct="1">
              <a:spcBef>
                <a:spcPct val="0"/>
              </a:spcBef>
              <a:buNone/>
              <a:defRPr lang="en-US" sz="2401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D2E10BA-1A12-4F3F-BFCB-EDF85D773CA7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D64B100-00A0-462A-9B92-B4D1AC64D4CD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D4692EE-3591-4933-9FE2-28B4C5B682DE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3C04DBB-B2D6-4606-BECF-1B290681E8E8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20" name="FNIHnotext.png" descr="FNIHnotext.png">
            <a:extLst>
              <a:ext uri="{FF2B5EF4-FFF2-40B4-BE49-F238E27FC236}">
                <a16:creationId xmlns:a16="http://schemas.microsoft.com/office/drawing/2014/main" id="{51038A56-8563-4F60-A928-3DC06959D2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079" y="6272429"/>
            <a:ext cx="1166533" cy="40978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77DF9D6-B152-4D86-B4F7-B178A2D6242F}"/>
              </a:ext>
            </a:extLst>
          </p:cNvPr>
          <p:cNvSpPr txBox="1"/>
          <p:nvPr userDrawn="1"/>
        </p:nvSpPr>
        <p:spPr>
          <a:xfrm>
            <a:off x="8641056" y="32922"/>
            <a:ext cx="3301373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spcBef>
                <a:spcPts val="200"/>
              </a:spcBef>
              <a:buSzPct val="100000"/>
            </a:pPr>
            <a:r>
              <a:rPr lang="en-US" sz="1400" b="1" i="1">
                <a:solidFill>
                  <a:srgbClr val="FF0000"/>
                </a:solidFill>
              </a:rPr>
              <a:t>Confidential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5612923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lu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35FD2B-C9AD-40CB-9B97-9705C91FFE43}"/>
              </a:ext>
            </a:extLst>
          </p:cNvPr>
          <p:cNvSpPr/>
          <p:nvPr userDrawn="1"/>
        </p:nvSpPr>
        <p:spPr bwMode="gray">
          <a:xfrm>
            <a:off x="11568701" y="6482999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899" tIns="88899" rIns="88899" bIns="88899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81F4BFD-D739-45E9-A5F7-B65C303EBE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7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888AA7F6-93E3-47B9-B824-23C23159D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8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264" rtl="0" eaLnBrk="1" latinLnBrk="0" hangingPunct="1">
              <a:spcBef>
                <a:spcPct val="0"/>
              </a:spcBef>
              <a:buNone/>
              <a:defRPr lang="en-US" sz="2401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D2CCCC8-6E9D-4FF6-B036-BC2D6075147C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09A356B-53AB-4900-8F7D-18DBFEFDFAFA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63D47E5-7F67-428E-98CB-4887352202DC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D5D5F63-D7FF-454D-9207-6E49D63BD145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19" name="FNIHnotext.png" descr="FNIHnotext.png">
            <a:extLst>
              <a:ext uri="{FF2B5EF4-FFF2-40B4-BE49-F238E27FC236}">
                <a16:creationId xmlns:a16="http://schemas.microsoft.com/office/drawing/2014/main" id="{DF2B734C-D74B-456A-AABB-E7312F8D64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079" y="6272429"/>
            <a:ext cx="1166533" cy="409787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5A24EA9B-7A3B-47C7-A055-B817DE8D606D}"/>
              </a:ext>
            </a:extLst>
          </p:cNvPr>
          <p:cNvSpPr txBox="1"/>
          <p:nvPr userDrawn="1"/>
        </p:nvSpPr>
        <p:spPr>
          <a:xfrm>
            <a:off x="8641056" y="32922"/>
            <a:ext cx="3301373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spcBef>
                <a:spcPts val="200"/>
              </a:spcBef>
              <a:buSzPct val="100000"/>
            </a:pPr>
            <a:r>
              <a:rPr lang="en-US" sz="1400" b="1" i="1">
                <a:solidFill>
                  <a:srgbClr val="FF0000"/>
                </a:solidFill>
              </a:rPr>
              <a:t>Confidential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58078795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 with quo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8E809F-C202-472B-8F13-E808541E1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8311312"/>
              </p:ext>
            </p:extLst>
          </p:nvPr>
        </p:nvGraphicFramePr>
        <p:xfrm>
          <a:off x="1588" y="1593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8E809F-C202-472B-8F13-E808541E1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8E01DC-D6B2-454E-895F-16D713C7FA4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3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401" b="1" i="0" baseline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B9F29-C1EA-4126-80E1-555E1176BD33}"/>
              </a:ext>
            </a:extLst>
          </p:cNvPr>
          <p:cNvSpPr/>
          <p:nvPr userDrawn="1"/>
        </p:nvSpPr>
        <p:spPr bwMode="gray">
          <a:xfrm>
            <a:off x="11568701" y="6482999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899" tIns="88899" rIns="88899" bIns="88899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631B3D0-2265-4B7D-8B78-8CB08C1F7261}"/>
              </a:ext>
            </a:extLst>
          </p:cNvPr>
          <p:cNvGrpSpPr/>
          <p:nvPr userDrawn="1"/>
        </p:nvGrpSpPr>
        <p:grpSpPr>
          <a:xfrm rot="5400000">
            <a:off x="6051804" y="-1864384"/>
            <a:ext cx="91440" cy="12188952"/>
            <a:chOff x="-1188" y="-3628"/>
            <a:chExt cx="91440" cy="662577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D3234ED-C51F-4EDF-86B3-D88272B763B3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8E29903-C775-4C05-8A24-B90817745A10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CF5E782-88C1-4F9B-987A-DA071E8CBB3A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07748016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ntent with quot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4998868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8AD836-1732-426D-8AD3-84BEC5B490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91270"/>
              </p:ext>
            </p:extLst>
          </p:nvPr>
        </p:nvGraphicFramePr>
        <p:xfrm>
          <a:off x="1588" y="1593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8AD836-1732-426D-8AD3-84BEC5B49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">
            <a:extLst>
              <a:ext uri="{FF2B5EF4-FFF2-40B4-BE49-F238E27FC236}">
                <a16:creationId xmlns:a16="http://schemas.microsoft.com/office/drawing/2014/main" id="{3CFF761D-5CBA-4C58-A8B8-A9672B269D41}"/>
              </a:ext>
            </a:extLst>
          </p:cNvPr>
          <p:cNvSpPr/>
          <p:nvPr userDrawn="1"/>
        </p:nvSpPr>
        <p:spPr>
          <a:xfrm>
            <a:off x="-1188" y="1"/>
            <a:ext cx="12193188" cy="4590151"/>
          </a:xfrm>
          <a:prstGeom prst="rect">
            <a:avLst/>
          </a:prstGeom>
          <a:gradFill>
            <a:gsLst>
              <a:gs pos="0">
                <a:srgbClr val="FFFFFF"/>
              </a:gs>
              <a:gs pos="100000">
                <a:schemeClr val="accent3"/>
              </a:gs>
            </a:gsLst>
            <a:lin ang="2700000"/>
          </a:gradFill>
          <a:ln w="12700">
            <a:miter lim="400000"/>
          </a:ln>
        </p:spPr>
        <p:txBody>
          <a:bodyPr lIns="0" tIns="0" rIns="0" bIns="0" anchor="ctr"/>
          <a:lstStyle/>
          <a:p>
            <a:pPr defTabSz="609618">
              <a:defRPr sz="1800" b="0">
                <a:solidFill>
                  <a:srgbClr val="FFFFFF"/>
                </a:solidFill>
              </a:defRPr>
            </a:pPr>
            <a:endParaRPr sz="240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407865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1" b="1">
                <a:solidFill>
                  <a:schemeClr val="accent1"/>
                </a:solidFill>
              </a:defRPr>
            </a:lvl1pPr>
            <a:lvl2pPr marL="0" indent="0" algn="l">
              <a:buNone/>
              <a:defRPr sz="2000" b="0"/>
            </a:lvl2pPr>
            <a:lvl3pPr marL="1219264" indent="0" algn="ctr">
              <a:buNone/>
              <a:defRPr sz="2401"/>
            </a:lvl3pPr>
            <a:lvl4pPr marL="1828895" indent="0" algn="ctr">
              <a:buNone/>
              <a:defRPr sz="2134"/>
            </a:lvl4pPr>
            <a:lvl5pPr marL="2438529" indent="0" algn="ctr">
              <a:buNone/>
              <a:defRPr sz="2134"/>
            </a:lvl5pPr>
            <a:lvl6pPr marL="3048162" indent="0" algn="ctr">
              <a:buNone/>
              <a:defRPr sz="2134"/>
            </a:lvl6pPr>
            <a:lvl7pPr marL="3657793" indent="0" algn="ctr">
              <a:buNone/>
              <a:defRPr sz="2134"/>
            </a:lvl7pPr>
            <a:lvl8pPr marL="4267424" indent="0" algn="ctr">
              <a:buNone/>
              <a:defRPr sz="2134"/>
            </a:lvl8pPr>
            <a:lvl9pPr marL="4877058" indent="0" algn="ctr">
              <a:buNone/>
              <a:defRPr sz="2134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30" y="5925385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pic>
        <p:nvPicPr>
          <p:cNvPr id="17" name="FNIH-LOGO-2013_vector [Converted].png" descr="FNIH-LOGO-2013_vector [Converted].png">
            <a:extLst>
              <a:ext uri="{FF2B5EF4-FFF2-40B4-BE49-F238E27FC236}">
                <a16:creationId xmlns:a16="http://schemas.microsoft.com/office/drawing/2014/main" id="{59EF7C65-C5EA-42CA-B1B3-5A3AB373CE4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878695" y="1939570"/>
            <a:ext cx="3758744" cy="160726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FB213BFD-2978-4EA3-A7B9-19C2563173B7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838AEBA-520B-4BDA-AAC9-3618050B595F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158DC1F-5D62-4A65-A8F3-485E67C8B8C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2FDA38-A9EA-4DDB-8E75-E755D85B991C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3602882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2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264" indent="0" algn="ctr">
              <a:buNone/>
              <a:defRPr sz="2401"/>
            </a:lvl3pPr>
            <a:lvl4pPr marL="1828895" indent="0" algn="ctr">
              <a:buNone/>
              <a:defRPr sz="2134"/>
            </a:lvl4pPr>
            <a:lvl5pPr marL="2438529" indent="0" algn="ctr">
              <a:buNone/>
              <a:defRPr sz="2134"/>
            </a:lvl5pPr>
            <a:lvl6pPr marL="3048162" indent="0" algn="ctr">
              <a:buNone/>
              <a:defRPr sz="2134"/>
            </a:lvl6pPr>
            <a:lvl7pPr marL="3657793" indent="0" algn="ctr">
              <a:buNone/>
              <a:defRPr sz="2134"/>
            </a:lvl7pPr>
            <a:lvl8pPr marL="4267424" indent="0" algn="ctr">
              <a:buNone/>
              <a:defRPr sz="2134"/>
            </a:lvl8pPr>
            <a:lvl9pPr marL="4877058" indent="0" algn="ctr">
              <a:buNone/>
              <a:defRPr sz="2134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30" y="6362704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pic>
        <p:nvPicPr>
          <p:cNvPr id="18" name="FNIH-LOGO-2013_vector [Converted].png" descr="FNIH-LOGO-2013_vector [Converted].png">
            <a:extLst>
              <a:ext uri="{FF2B5EF4-FFF2-40B4-BE49-F238E27FC236}">
                <a16:creationId xmlns:a16="http://schemas.microsoft.com/office/drawing/2014/main" id="{082DEAF1-17C5-4626-85F4-3DF6E6E5A1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5331" y="147725"/>
            <a:ext cx="1681233" cy="718905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90811136-3853-4C1D-BA9B-2AFDCEB4B9B0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66D630A-AEE8-4343-BA3F-6EE25EC80491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013A969C-9D9B-478B-9FDF-875C727DB225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683932D-6965-4E5F-B6F9-45F654680314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6201301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DFCB619-9285-4739-98EF-DE8D23A5C71E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E1EB0B4-4F9B-42FE-91E4-4863A529A432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0527AAB-7908-41DD-8526-4567330DAF6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1E9B615-F7C2-4020-8C52-02DBF5E91BEB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3" name="FNIHnotext.png" descr="FNIHnotext.png">
            <a:extLst>
              <a:ext uri="{FF2B5EF4-FFF2-40B4-BE49-F238E27FC236}">
                <a16:creationId xmlns:a16="http://schemas.microsoft.com/office/drawing/2014/main" id="{F5BC477F-083E-4EB7-AAD1-94C4FE3436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072" y="6272424"/>
            <a:ext cx="1166533" cy="40978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BE05733-ED5E-4175-9B75-7DC00153C124}"/>
              </a:ext>
            </a:extLst>
          </p:cNvPr>
          <p:cNvSpPr txBox="1"/>
          <p:nvPr userDrawn="1"/>
        </p:nvSpPr>
        <p:spPr>
          <a:xfrm>
            <a:off x="8641049" y="32921"/>
            <a:ext cx="3301373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spcBef>
                <a:spcPts val="200"/>
              </a:spcBef>
              <a:buSzPct val="100000"/>
            </a:pPr>
            <a:r>
              <a:rPr lang="en-US" sz="1400" b="1" i="1">
                <a:solidFill>
                  <a:srgbClr val="FF0000"/>
                </a:solidFill>
              </a:rPr>
              <a:t>Confidential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33429310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AD1E82-7DE3-46EF-9065-6719F60566A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2AA4D10-945A-4EAA-A762-B970357C092F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848915A-5C7B-416F-B5B0-7693F5EE0BF9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FCA6CAC-7815-469B-9315-157CA98B8F24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8AF41DF-170C-4192-8044-63BF6EC31434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15" name="FNIHnotext.png" descr="FNIHnotext.png">
            <a:extLst>
              <a:ext uri="{FF2B5EF4-FFF2-40B4-BE49-F238E27FC236}">
                <a16:creationId xmlns:a16="http://schemas.microsoft.com/office/drawing/2014/main" id="{8D5EE795-233D-420E-9798-B7F490CC95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072" y="6272424"/>
            <a:ext cx="1166533" cy="409787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4BFF57B9-8CFE-4685-B315-711FCC7A952A}"/>
              </a:ext>
            </a:extLst>
          </p:cNvPr>
          <p:cNvSpPr txBox="1"/>
          <p:nvPr userDrawn="1"/>
        </p:nvSpPr>
        <p:spPr>
          <a:xfrm>
            <a:off x="8641049" y="32921"/>
            <a:ext cx="3301373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spcBef>
                <a:spcPts val="200"/>
              </a:spcBef>
              <a:buSzPct val="100000"/>
            </a:pPr>
            <a:r>
              <a:rPr lang="en-US" sz="1400" b="1" i="1">
                <a:solidFill>
                  <a:srgbClr val="FF0000"/>
                </a:solidFill>
              </a:rPr>
              <a:t>Confidential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78291976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lu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35FD2B-C9AD-40CB-9B97-9705C91FFE43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F11C41-49D9-42A9-8A0B-755B3FABCBD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81F4BFD-D739-45E9-A5F7-B65C303EBE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888AA7F6-93E3-47B9-B824-23C23159D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D2CCCC8-6E9D-4FF6-B036-BC2D6075147C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09A356B-53AB-4900-8F7D-18DBFEFDFAFA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63D47E5-7F67-428E-98CB-4887352202DC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D5D5F63-D7FF-454D-9207-6E49D63BD145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9" name="FNIHnotext.png" descr="FNIHnotext.png">
            <a:extLst>
              <a:ext uri="{FF2B5EF4-FFF2-40B4-BE49-F238E27FC236}">
                <a16:creationId xmlns:a16="http://schemas.microsoft.com/office/drawing/2014/main" id="{DF2B734C-D74B-456A-AABB-E7312F8D64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072" y="6272424"/>
            <a:ext cx="1166533" cy="409787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5A24EA9B-7A3B-47C7-A055-B817DE8D606D}"/>
              </a:ext>
            </a:extLst>
          </p:cNvPr>
          <p:cNvSpPr txBox="1"/>
          <p:nvPr userDrawn="1"/>
        </p:nvSpPr>
        <p:spPr>
          <a:xfrm>
            <a:off x="8641049" y="32921"/>
            <a:ext cx="3301373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spcBef>
                <a:spcPts val="200"/>
              </a:spcBef>
              <a:buSzPct val="100000"/>
            </a:pPr>
            <a:r>
              <a:rPr lang="en-US" sz="1400" b="1" i="1">
                <a:solidFill>
                  <a:srgbClr val="FF0000"/>
                </a:solidFill>
              </a:rPr>
              <a:t>Confidential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71850876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een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35FD2B-C9AD-40CB-9B97-9705C91FFE43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F11C41-49D9-42A9-8A0B-755B3FABCBDC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E1F3FF1B-A2E0-4F96-A389-BB2B255F45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F2F2390C-D6B8-49CE-B13F-EA5A79111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D2E10BA-1A12-4F3F-BFCB-EDF85D773CA7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D64B100-00A0-462A-9B92-B4D1AC64D4CD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D4692EE-3591-4933-9FE2-28B4C5B682DE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3C04DBB-B2D6-4606-BECF-1B290681E8E8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0" name="FNIHnotext.png" descr="FNIHnotext.png">
            <a:extLst>
              <a:ext uri="{FF2B5EF4-FFF2-40B4-BE49-F238E27FC236}">
                <a16:creationId xmlns:a16="http://schemas.microsoft.com/office/drawing/2014/main" id="{51038A56-8563-4F60-A928-3DC06959D2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3072" y="6272424"/>
            <a:ext cx="1166533" cy="40978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77DF9D6-B152-4D86-B4F7-B178A2D6242F}"/>
              </a:ext>
            </a:extLst>
          </p:cNvPr>
          <p:cNvSpPr txBox="1"/>
          <p:nvPr userDrawn="1"/>
        </p:nvSpPr>
        <p:spPr>
          <a:xfrm>
            <a:off x="8641049" y="32921"/>
            <a:ext cx="3301373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spcBef>
                <a:spcPts val="200"/>
              </a:spcBef>
              <a:buSzPct val="100000"/>
            </a:pPr>
            <a:r>
              <a:rPr lang="en-US" sz="1400" b="1" i="1">
                <a:solidFill>
                  <a:srgbClr val="FF0000"/>
                </a:solidFill>
              </a:rPr>
              <a:t>Confidential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48713958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 with quo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8E809F-C202-472B-8F13-E808541E1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391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8E809F-C202-472B-8F13-E808541E1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8E01DC-D6B2-454E-895F-16D713C7FA4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400" b="1" i="0" baseline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B9F29-C1EA-4126-80E1-555E1176BD33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631B3D0-2265-4B7D-8B78-8CB08C1F7261}"/>
              </a:ext>
            </a:extLst>
          </p:cNvPr>
          <p:cNvGrpSpPr/>
          <p:nvPr userDrawn="1"/>
        </p:nvGrpSpPr>
        <p:grpSpPr>
          <a:xfrm rot="5400000">
            <a:off x="6051804" y="-1864384"/>
            <a:ext cx="91440" cy="12188952"/>
            <a:chOff x="-1188" y="-3628"/>
            <a:chExt cx="91440" cy="662577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D3234ED-C51F-4EDF-86B3-D88272B763B3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8E29903-C775-4C05-8A24-B90817745A10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CF5E782-88C1-4F9B-987A-DA071E8CBB3A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4443111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ntent with quot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708629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een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E1F3FF1B-A2E0-4F96-A389-BB2B255F45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7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F2F2390C-D6B8-49CE-B13F-EA5A79111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8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264" rtl="0" eaLnBrk="1" latinLnBrk="0" hangingPunct="1">
              <a:spcBef>
                <a:spcPct val="0"/>
              </a:spcBef>
              <a:buNone/>
              <a:defRPr lang="en-US" sz="2401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D2E10BA-1A12-4F3F-BFCB-EDF85D773CA7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D64B100-00A0-462A-9B92-B4D1AC64D4CD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FD4692EE-3591-4933-9FE2-28B4C5B682DE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3C04DBB-B2D6-4606-BECF-1B290681E8E8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20" name="FNIHnotext.png" descr="FNIHnotext.png">
            <a:extLst>
              <a:ext uri="{FF2B5EF4-FFF2-40B4-BE49-F238E27FC236}">
                <a16:creationId xmlns:a16="http://schemas.microsoft.com/office/drawing/2014/main" id="{51038A56-8563-4F60-A928-3DC06959D2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079" y="6272429"/>
            <a:ext cx="1166533" cy="409787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77DF9D6-B152-4D86-B4F7-B178A2D6242F}"/>
              </a:ext>
            </a:extLst>
          </p:cNvPr>
          <p:cNvSpPr txBox="1"/>
          <p:nvPr userDrawn="1"/>
        </p:nvSpPr>
        <p:spPr>
          <a:xfrm>
            <a:off x="8641056" y="32922"/>
            <a:ext cx="3301373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spcBef>
                <a:spcPts val="200"/>
              </a:spcBef>
              <a:buSzPct val="100000"/>
            </a:pPr>
            <a:r>
              <a:rPr lang="en-US" sz="1400" b="1" i="1">
                <a:solidFill>
                  <a:srgbClr val="FF0000"/>
                </a:solidFill>
              </a:rPr>
              <a:t>Confidential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728599016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8AD836-1732-426D-8AD3-84BEC5B490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7061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8AD836-1732-426D-8AD3-84BEC5B49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">
            <a:extLst>
              <a:ext uri="{FF2B5EF4-FFF2-40B4-BE49-F238E27FC236}">
                <a16:creationId xmlns:a16="http://schemas.microsoft.com/office/drawing/2014/main" id="{3CFF761D-5CBA-4C58-A8B8-A9672B269D41}"/>
              </a:ext>
            </a:extLst>
          </p:cNvPr>
          <p:cNvSpPr/>
          <p:nvPr userDrawn="1"/>
        </p:nvSpPr>
        <p:spPr>
          <a:xfrm>
            <a:off x="-1188" y="0"/>
            <a:ext cx="12193188" cy="4590151"/>
          </a:xfrm>
          <a:prstGeom prst="rect">
            <a:avLst/>
          </a:prstGeom>
          <a:gradFill>
            <a:gsLst>
              <a:gs pos="0">
                <a:srgbClr val="FFFFFF"/>
              </a:gs>
              <a:gs pos="100000">
                <a:schemeClr val="accent3"/>
              </a:gs>
            </a:gsLst>
            <a:lin ang="2700000"/>
          </a:gradFill>
          <a:ln w="12700">
            <a:miter lim="400000"/>
          </a:ln>
        </p:spPr>
        <p:txBody>
          <a:bodyPr lIns="0" tIns="0" rIns="0" bIns="0" anchor="ctr"/>
          <a:lstStyle/>
          <a:p>
            <a:pPr defTabSz="609570">
              <a:defRPr sz="1800" b="0">
                <a:solidFill>
                  <a:srgbClr val="FFFFFF"/>
                </a:solidFill>
              </a:defRPr>
            </a:pPr>
            <a:endParaRPr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407863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5925382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pic>
        <p:nvPicPr>
          <p:cNvPr id="17" name="FNIH-LOGO-2013_vector [Converted].png" descr="FNIH-LOGO-2013_vector [Converted].png">
            <a:extLst>
              <a:ext uri="{FF2B5EF4-FFF2-40B4-BE49-F238E27FC236}">
                <a16:creationId xmlns:a16="http://schemas.microsoft.com/office/drawing/2014/main" id="{59EF7C65-C5EA-42CA-B1B3-5A3AB373CE4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8695" y="1939569"/>
            <a:ext cx="3758744" cy="160726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FB213BFD-2978-4EA3-A7B9-19C2563173B7}"/>
              </a:ext>
            </a:extLst>
          </p:cNvPr>
          <p:cNvGrpSpPr/>
          <p:nvPr userDrawn="1"/>
        </p:nvGrpSpPr>
        <p:grpSpPr>
          <a:xfrm>
            <a:off x="-1188" y="-3628"/>
            <a:ext cx="91440" cy="6858000"/>
            <a:chOff x="-1188" y="-3628"/>
            <a:chExt cx="91440" cy="66257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838AEBA-520B-4BDA-AAC9-3618050B595F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158DC1F-5D62-4A65-A8F3-485E67C8B8C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2FDA38-A9EA-4DDB-8E75-E755D85B991C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5258749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14721305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5BDC220-FDA0-41D7-98BA-BB440BC4A90B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711229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lue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635FD2B-C9AD-40CB-9B97-9705C91FFE43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81F4BFD-D739-45E9-A5F7-B65C303EBE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888AA7F6-93E3-47B9-B824-23C23159D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24EA9B-7A3B-47C7-A055-B817DE8D606D}"/>
              </a:ext>
            </a:extLst>
          </p:cNvPr>
          <p:cNvSpPr txBox="1"/>
          <p:nvPr userDrawn="1"/>
        </p:nvSpPr>
        <p:spPr>
          <a:xfrm>
            <a:off x="8641049" y="32921"/>
            <a:ext cx="3301373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spcBef>
                <a:spcPts val="200"/>
              </a:spcBef>
              <a:buSzPct val="100000"/>
            </a:pPr>
            <a:r>
              <a:rPr lang="en-US" sz="1400" b="1" i="1">
                <a:solidFill>
                  <a:srgbClr val="FF0000"/>
                </a:solidFill>
              </a:rPr>
              <a:t>Confidential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58775158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green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E1F3FF1B-A2E0-4F96-A389-BB2B255F456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F2F2390C-D6B8-49CE-B13F-EA5A791114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77DF9D6-B152-4D86-B4F7-B178A2D6242F}"/>
              </a:ext>
            </a:extLst>
          </p:cNvPr>
          <p:cNvSpPr txBox="1"/>
          <p:nvPr userDrawn="1"/>
        </p:nvSpPr>
        <p:spPr>
          <a:xfrm>
            <a:off x="8641049" y="32921"/>
            <a:ext cx="3301373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spcBef>
                <a:spcPts val="200"/>
              </a:spcBef>
              <a:buSzPct val="100000"/>
            </a:pPr>
            <a:r>
              <a:rPr lang="en-US" sz="1400" b="1" i="1">
                <a:solidFill>
                  <a:srgbClr val="FF0000"/>
                </a:solidFill>
              </a:rPr>
              <a:t>Confidential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04743165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 with quo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8E809F-C202-472B-8F13-E808541E1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2023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8E809F-C202-472B-8F13-E808541E1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8E01DC-D6B2-454E-895F-16D713C7FA4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400" b="1" i="0" baseline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B9F29-C1EA-4126-80E1-555E1176BD33}"/>
              </a:ext>
            </a:extLst>
          </p:cNvPr>
          <p:cNvSpPr/>
          <p:nvPr userDrawn="1"/>
        </p:nvSpPr>
        <p:spPr bwMode="gray">
          <a:xfrm>
            <a:off x="11568701" y="6482993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278971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ntent with quot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926142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7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170" rtl="0" eaLnBrk="1" latinLnBrk="0" hangingPunct="1">
              <a:spcBef>
                <a:spcPct val="0"/>
              </a:spcBef>
              <a:buNone/>
              <a:defRPr lang="en-US" sz="2400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568467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content with quo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8E809F-C202-472B-8F13-E808541E1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2023677"/>
              </p:ext>
            </p:extLst>
          </p:nvPr>
        </p:nvGraphicFramePr>
        <p:xfrm>
          <a:off x="1588" y="1593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8E809F-C202-472B-8F13-E808541E1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8E01DC-D6B2-454E-895F-16D713C7FA4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3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401" b="1" i="0" baseline="0">
              <a:solidFill>
                <a:schemeClr val="bg1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  <a:sym typeface="Open Sans Semibold" panose="020B0706030804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B9F29-C1EA-4126-80E1-555E1176BD33}"/>
              </a:ext>
            </a:extLst>
          </p:cNvPr>
          <p:cNvSpPr/>
          <p:nvPr userDrawn="1"/>
        </p:nvSpPr>
        <p:spPr bwMode="gray">
          <a:xfrm>
            <a:off x="11568701" y="6482999"/>
            <a:ext cx="503434" cy="37500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899" tIns="88899" rIns="88899" bIns="88899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631B3D0-2265-4B7D-8B78-8CB08C1F7261}"/>
              </a:ext>
            </a:extLst>
          </p:cNvPr>
          <p:cNvGrpSpPr/>
          <p:nvPr userDrawn="1"/>
        </p:nvGrpSpPr>
        <p:grpSpPr>
          <a:xfrm rot="5400000">
            <a:off x="6051804" y="-1864384"/>
            <a:ext cx="91440" cy="12188952"/>
            <a:chOff x="-1188" y="-3628"/>
            <a:chExt cx="91440" cy="662577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D3234ED-C51F-4EDF-86B3-D88272B763B3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8E29903-C775-4C05-8A24-B90817745A10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CF5E782-88C1-4F9B-987A-DA071E8CBB3A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08752949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content with quot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320446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38AD836-1732-426D-8AD3-84BEC5B490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117091"/>
              </p:ext>
            </p:extLst>
          </p:nvPr>
        </p:nvGraphicFramePr>
        <p:xfrm>
          <a:off x="1588" y="1593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38AD836-1732-426D-8AD3-84BEC5B490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93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">
            <a:extLst>
              <a:ext uri="{FF2B5EF4-FFF2-40B4-BE49-F238E27FC236}">
                <a16:creationId xmlns:a16="http://schemas.microsoft.com/office/drawing/2014/main" id="{3CFF761D-5CBA-4C58-A8B8-A9672B269D41}"/>
              </a:ext>
            </a:extLst>
          </p:cNvPr>
          <p:cNvSpPr/>
          <p:nvPr userDrawn="1"/>
        </p:nvSpPr>
        <p:spPr>
          <a:xfrm>
            <a:off x="-1188" y="1"/>
            <a:ext cx="12193188" cy="4590151"/>
          </a:xfrm>
          <a:prstGeom prst="rect">
            <a:avLst/>
          </a:prstGeom>
          <a:gradFill>
            <a:gsLst>
              <a:gs pos="0">
                <a:srgbClr val="FFFFFF"/>
              </a:gs>
              <a:gs pos="100000">
                <a:schemeClr val="accent3"/>
              </a:gs>
            </a:gsLst>
            <a:lin ang="2700000"/>
          </a:gradFill>
          <a:ln w="12700">
            <a:miter lim="400000"/>
          </a:ln>
        </p:spPr>
        <p:txBody>
          <a:bodyPr lIns="0" tIns="0" rIns="0" bIns="0" anchor="ctr"/>
          <a:lstStyle/>
          <a:p>
            <a:pPr defTabSz="609618">
              <a:defRPr sz="1800" b="0">
                <a:solidFill>
                  <a:srgbClr val="FFFFFF"/>
                </a:solidFill>
              </a:defRPr>
            </a:pPr>
            <a:endParaRPr sz="240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407865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1" b="1">
                <a:solidFill>
                  <a:schemeClr val="accent1"/>
                </a:solidFill>
              </a:defRPr>
            </a:lvl1pPr>
            <a:lvl2pPr marL="0" indent="0" algn="l">
              <a:buNone/>
              <a:defRPr sz="2000" b="0"/>
            </a:lvl2pPr>
            <a:lvl3pPr marL="1219264" indent="0" algn="ctr">
              <a:buNone/>
              <a:defRPr sz="2401"/>
            </a:lvl3pPr>
            <a:lvl4pPr marL="1828895" indent="0" algn="ctr">
              <a:buNone/>
              <a:defRPr sz="2134"/>
            </a:lvl4pPr>
            <a:lvl5pPr marL="2438529" indent="0" algn="ctr">
              <a:buNone/>
              <a:defRPr sz="2134"/>
            </a:lvl5pPr>
            <a:lvl6pPr marL="3048162" indent="0" algn="ctr">
              <a:buNone/>
              <a:defRPr sz="2134"/>
            </a:lvl6pPr>
            <a:lvl7pPr marL="3657793" indent="0" algn="ctr">
              <a:buNone/>
              <a:defRPr sz="2134"/>
            </a:lvl7pPr>
            <a:lvl8pPr marL="4267424" indent="0" algn="ctr">
              <a:buNone/>
              <a:defRPr sz="2134"/>
            </a:lvl8pPr>
            <a:lvl9pPr marL="4877058" indent="0" algn="ctr">
              <a:buNone/>
              <a:defRPr sz="2134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30" y="5925385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pic>
        <p:nvPicPr>
          <p:cNvPr id="17" name="FNIH-LOGO-2013_vector [Converted].png" descr="FNIH-LOGO-2013_vector [Converted].png">
            <a:extLst>
              <a:ext uri="{FF2B5EF4-FFF2-40B4-BE49-F238E27FC236}">
                <a16:creationId xmlns:a16="http://schemas.microsoft.com/office/drawing/2014/main" id="{59EF7C65-C5EA-42CA-B1B3-5A3AB373CE4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878695" y="1939570"/>
            <a:ext cx="3758744" cy="1607262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FB213BFD-2978-4EA3-A7B9-19C2563173B7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838AEBA-520B-4BDA-AAC9-3618050B595F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158DC1F-5D62-4A65-A8F3-485E67C8B8C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2FDA38-A9EA-4DDB-8E75-E755D85B991C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5136004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2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264" indent="0" algn="ctr">
              <a:buNone/>
              <a:defRPr sz="2401"/>
            </a:lvl3pPr>
            <a:lvl4pPr marL="1828895" indent="0" algn="ctr">
              <a:buNone/>
              <a:defRPr sz="2134"/>
            </a:lvl4pPr>
            <a:lvl5pPr marL="2438529" indent="0" algn="ctr">
              <a:buNone/>
              <a:defRPr sz="2134"/>
            </a:lvl5pPr>
            <a:lvl6pPr marL="3048162" indent="0" algn="ctr">
              <a:buNone/>
              <a:defRPr sz="2134"/>
            </a:lvl6pPr>
            <a:lvl7pPr marL="3657793" indent="0" algn="ctr">
              <a:buNone/>
              <a:defRPr sz="2134"/>
            </a:lvl7pPr>
            <a:lvl8pPr marL="4267424" indent="0" algn="ctr">
              <a:buNone/>
              <a:defRPr sz="2134"/>
            </a:lvl8pPr>
            <a:lvl9pPr marL="4877058" indent="0" algn="ctr">
              <a:buNone/>
              <a:defRPr sz="2134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30" y="6362704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pic>
        <p:nvPicPr>
          <p:cNvPr id="18" name="FNIH-LOGO-2013_vector [Converted].png" descr="FNIH-LOGO-2013_vector [Converted].png">
            <a:extLst>
              <a:ext uri="{FF2B5EF4-FFF2-40B4-BE49-F238E27FC236}">
                <a16:creationId xmlns:a16="http://schemas.microsoft.com/office/drawing/2014/main" id="{082DEAF1-17C5-4626-85F4-3DF6E6E5A1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5331" y="147725"/>
            <a:ext cx="1681233" cy="718905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90811136-3853-4C1D-BA9B-2AFDCEB4B9B0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66D630A-AEE8-4343-BA3F-6EE25EC80491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013A969C-9D9B-478B-9FDF-875C727DB225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683932D-6965-4E5F-B6F9-45F654680314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6949990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64DC2670-5D11-4421-8167-B380A667E4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688" y="684903"/>
            <a:ext cx="11390734" cy="454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70" rtl="0" eaLnBrk="1" latinLnBrk="0" hangingPunct="1">
              <a:spcBef>
                <a:spcPts val="200"/>
              </a:spcBef>
              <a:buSzPct val="100000"/>
              <a:buNone/>
              <a:defRPr lang="en-US" sz="1800" kern="1200" noProof="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791C14F-ED57-4012-8301-39F6E6B9E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688" y="238608"/>
            <a:ext cx="11390734" cy="3657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1219264" rtl="0" eaLnBrk="1" latinLnBrk="0" hangingPunct="1">
              <a:spcBef>
                <a:spcPct val="0"/>
              </a:spcBef>
              <a:buNone/>
              <a:defRPr lang="en-US" sz="2401" b="1" kern="120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DFCB619-9285-4739-98EF-DE8D23A5C71E}"/>
              </a:ext>
            </a:extLst>
          </p:cNvPr>
          <p:cNvGrpSpPr/>
          <p:nvPr userDrawn="1"/>
        </p:nvGrpSpPr>
        <p:grpSpPr>
          <a:xfrm>
            <a:off x="-1188" y="-3626"/>
            <a:ext cx="91440" cy="6858000"/>
            <a:chOff x="-1188" y="-3628"/>
            <a:chExt cx="91440" cy="6625771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E1EB0B4-4F9B-42FE-91E4-4863A529A432}"/>
                </a:ext>
              </a:extLst>
            </p:cNvPr>
            <p:cNvSpPr/>
            <p:nvPr/>
          </p:nvSpPr>
          <p:spPr>
            <a:xfrm rot="5400000">
              <a:off x="-1052748" y="1047932"/>
              <a:ext cx="2194560" cy="9144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0527AAB-7908-41DD-8526-4567330DAF63}"/>
                </a:ext>
              </a:extLst>
            </p:cNvPr>
            <p:cNvSpPr/>
            <p:nvPr/>
          </p:nvSpPr>
          <p:spPr>
            <a:xfrm rot="5400000">
              <a:off x="-1052748" y="3263537"/>
              <a:ext cx="2194560" cy="9144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1E9B615-F7C2-4020-8C52-02DBF5E91BEB}"/>
                </a:ext>
              </a:extLst>
            </p:cNvPr>
            <p:cNvSpPr/>
            <p:nvPr/>
          </p:nvSpPr>
          <p:spPr>
            <a:xfrm rot="5400000">
              <a:off x="-1052748" y="5479143"/>
              <a:ext cx="2194560" cy="9144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pic>
        <p:nvPicPr>
          <p:cNvPr id="23" name="FNIHnotext.png" descr="FNIHnotext.png">
            <a:extLst>
              <a:ext uri="{FF2B5EF4-FFF2-40B4-BE49-F238E27FC236}">
                <a16:creationId xmlns:a16="http://schemas.microsoft.com/office/drawing/2014/main" id="{F5BC477F-083E-4EB7-AAD1-94C4FE3436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079" y="6272429"/>
            <a:ext cx="1166533" cy="40978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9399152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ags" Target="../tags/tag12.xml"/><Relationship Id="rId5" Type="http://schemas.openxmlformats.org/officeDocument/2006/relationships/slideLayout" Target="../slideLayouts/slideLayout22.xml"/><Relationship Id="rId10" Type="http://schemas.openxmlformats.org/officeDocument/2006/relationships/tags" Target="../tags/tag11.xml"/><Relationship Id="rId4" Type="http://schemas.openxmlformats.org/officeDocument/2006/relationships/slideLayout" Target="../slideLayouts/slideLayout21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30.xml"/><Relationship Id="rId10" Type="http://schemas.openxmlformats.org/officeDocument/2006/relationships/tags" Target="../tags/tag16.xml"/><Relationship Id="rId4" Type="http://schemas.openxmlformats.org/officeDocument/2006/relationships/slideLayout" Target="../slideLayouts/slideLayout29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oleObject" Target="../embeddings/oleObject13.bin"/><Relationship Id="rId5" Type="http://schemas.openxmlformats.org/officeDocument/2006/relationships/slideLayout" Target="../slideLayouts/slideLayout38.xml"/><Relationship Id="rId10" Type="http://schemas.openxmlformats.org/officeDocument/2006/relationships/tags" Target="../tags/tag22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2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oleObject" Target="../embeddings/oleObject16.bin"/><Relationship Id="rId5" Type="http://schemas.openxmlformats.org/officeDocument/2006/relationships/slideLayout" Target="../slideLayouts/slideLayout45.xml"/><Relationship Id="rId10" Type="http://schemas.openxmlformats.org/officeDocument/2006/relationships/tags" Target="../tags/tag27.xml"/><Relationship Id="rId4" Type="http://schemas.openxmlformats.org/officeDocument/2006/relationships/slideLayout" Target="../slideLayouts/slideLayout44.xml"/><Relationship Id="rId9" Type="http://schemas.openxmlformats.org/officeDocument/2006/relationships/tags" Target="../tags/tag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669171152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5FC3A-B4DE-44B6-BE7B-80968DE77792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gray">
          <a:xfrm>
            <a:off x="0" y="3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90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4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1412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</p:sldLayoutIdLst>
  <p:transition>
    <p:fade/>
  </p:transition>
  <p:hf hdr="0" dt="0"/>
  <p:txStyles>
    <p:titleStyle>
      <a:lvl1pPr algn="l" defTabSz="1219264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264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10" indent="-127010" algn="l" defTabSz="1219264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22" indent="-127010" algn="l" defTabSz="1219264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33" indent="-127010" algn="l" defTabSz="1219264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46" indent="-127010" algn="l" defTabSz="106474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437" indent="-235212" algn="l" defTabSz="1219264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437" indent="-235212" algn="l" defTabSz="1219264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437" indent="-235212" algn="l" defTabSz="1219264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437" indent="-235212" algn="l" defTabSz="1219264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1pPr>
      <a:lvl2pPr marL="609633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4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5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9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5pPr>
      <a:lvl6pPr marL="3048162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6pPr>
      <a:lvl7pPr marL="3657793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7pPr>
      <a:lvl8pPr marL="4267424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8pPr>
      <a:lvl9pPr marL="4877058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1" userDrawn="1">
          <p15:clr>
            <a:srgbClr val="F26B43"/>
          </p15:clr>
        </p15:guide>
        <p15:guide id="3" orient="horz" pos="3967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43116605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5FC3A-B4DE-44B6-BE7B-80968DE77792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gray">
          <a:xfrm>
            <a:off x="0" y="3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90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4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8033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</p:sldLayoutIdLst>
  <p:transition>
    <p:fade/>
  </p:transition>
  <p:hf hdr="0" dt="0"/>
  <p:txStyles>
    <p:titleStyle>
      <a:lvl1pPr algn="l" defTabSz="1219264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264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10" indent="-127010" algn="l" defTabSz="1219264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22" indent="-127010" algn="l" defTabSz="1219264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33" indent="-127010" algn="l" defTabSz="1219264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46" indent="-127010" algn="l" defTabSz="106474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437" indent="-235212" algn="l" defTabSz="1219264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437" indent="-235212" algn="l" defTabSz="1219264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437" indent="-235212" algn="l" defTabSz="1219264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437" indent="-235212" algn="l" defTabSz="1219264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1pPr>
      <a:lvl2pPr marL="609633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4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5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9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5pPr>
      <a:lvl6pPr marL="3048162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6pPr>
      <a:lvl7pPr marL="3657793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7pPr>
      <a:lvl8pPr marL="4267424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8pPr>
      <a:lvl9pPr marL="4877058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1" userDrawn="1">
          <p15:clr>
            <a:srgbClr val="F26B43"/>
          </p15:clr>
        </p15:guide>
        <p15:guide id="3" orient="horz" pos="3967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44895839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5FC3A-B4DE-44B6-BE7B-80968DE77792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gray">
          <a:xfrm>
            <a:off x="0" y="3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90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4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1546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</p:sldLayoutIdLst>
  <p:transition>
    <p:fade/>
  </p:transition>
  <p:hf hdr="0" dt="0"/>
  <p:txStyles>
    <p:titleStyle>
      <a:lvl1pPr algn="l" defTabSz="1219264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264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10" indent="-127010" algn="l" defTabSz="1219264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22" indent="-127010" algn="l" defTabSz="1219264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33" indent="-127010" algn="l" defTabSz="1219264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46" indent="-127010" algn="l" defTabSz="106474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437" indent="-235212" algn="l" defTabSz="1219264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437" indent="-235212" algn="l" defTabSz="1219264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437" indent="-235212" algn="l" defTabSz="1219264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437" indent="-235212" algn="l" defTabSz="1219264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1pPr>
      <a:lvl2pPr marL="609633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4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5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9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5pPr>
      <a:lvl6pPr marL="3048162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6pPr>
      <a:lvl7pPr marL="3657793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7pPr>
      <a:lvl8pPr marL="4267424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8pPr>
      <a:lvl9pPr marL="4877058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1" userDrawn="1">
          <p15:clr>
            <a:srgbClr val="F26B43"/>
          </p15:clr>
        </p15:guide>
        <p15:guide id="3" orient="horz" pos="3967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41621233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5FC3A-B4DE-44B6-BE7B-80968DE77792}"/>
              </a:ext>
            </a:extLst>
          </p:cNvPr>
          <p:cNvSpPr/>
          <p:nvPr userDrawn="1">
            <p:custDataLst>
              <p:tags r:id="rId11"/>
            </p:custDataLst>
          </p:nvPr>
        </p:nvSpPr>
        <p:spPr bwMode="gray">
          <a:xfrm>
            <a:off x="0" y="3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90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4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8982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</p:sldLayoutIdLst>
  <p:transition>
    <p:fade/>
  </p:transition>
  <p:hf hdr="0" dt="0"/>
  <p:txStyles>
    <p:titleStyle>
      <a:lvl1pPr algn="l" defTabSz="1219264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264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10" indent="-127010" algn="l" defTabSz="1219264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22" indent="-127010" algn="l" defTabSz="1219264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33" indent="-127010" algn="l" defTabSz="1219264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46" indent="-127010" algn="l" defTabSz="106474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437" indent="-235212" algn="l" defTabSz="1219264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437" indent="-235212" algn="l" defTabSz="1219264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437" indent="-235212" algn="l" defTabSz="1219264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437" indent="-235212" algn="l" defTabSz="1219264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1pPr>
      <a:lvl2pPr marL="609633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4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5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9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5pPr>
      <a:lvl6pPr marL="3048162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6pPr>
      <a:lvl7pPr marL="3657793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7pPr>
      <a:lvl8pPr marL="4267424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8pPr>
      <a:lvl9pPr marL="4877058" algn="l" defTabSz="1219264" rtl="0" eaLnBrk="1" latinLnBrk="0" hangingPunct="1">
        <a:defRPr sz="24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1" userDrawn="1">
          <p15:clr>
            <a:srgbClr val="F26B43"/>
          </p15:clr>
        </p15:guide>
        <p15:guide id="3" orient="horz" pos="3967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74306978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5FC3A-B4DE-44B6-BE7B-80968DE77792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55A4A8-E969-4DAA-B77A-0C2B155A47E1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051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6917115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E5FC3A-B4DE-44B6-BE7B-80968DE77792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Open Sans" panose="020B0606030504020204" pitchFamily="34" charset="0"/>
              <a:ea typeface="+mj-ea"/>
              <a:cs typeface="+mj-cs"/>
              <a:sym typeface="Open Sans" panose="020B06060305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5137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270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794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12700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◦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4200" indent="-127000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296">
          <p15:clr>
            <a:srgbClr val="F26B43"/>
          </p15:clr>
        </p15:guide>
        <p15:guide id="5" pos="7384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4986">
          <p15:clr>
            <a:srgbClr val="F26B43"/>
          </p15:clr>
        </p15:guide>
        <p15:guide id="12" pos="1382">
          <p15:clr>
            <a:srgbClr val="F26B43"/>
          </p15:clr>
        </p15:guide>
        <p15:guide id="13" pos="1496">
          <p15:clr>
            <a:srgbClr val="F26B43"/>
          </p15:clr>
        </p15:guide>
        <p15:guide id="14" pos="2581">
          <p15:clr>
            <a:srgbClr val="F26B43"/>
          </p15:clr>
        </p15:guide>
        <p15:guide id="15" pos="2695">
          <p15:clr>
            <a:srgbClr val="F26B43"/>
          </p15:clr>
        </p15:guide>
        <p15:guide id="16" pos="6185">
          <p15:clr>
            <a:srgbClr val="F26B43"/>
          </p15:clr>
        </p15:guide>
        <p15:guide id="17" pos="3783">
          <p15:clr>
            <a:srgbClr val="F26B43"/>
          </p15:clr>
        </p15:guide>
        <p15:guide id="18" pos="3896">
          <p15:clr>
            <a:srgbClr val="F26B43"/>
          </p15:clr>
        </p15:guide>
        <p15:guide id="19" pos="3840">
          <p15:clr>
            <a:srgbClr val="F26B43"/>
          </p15:clr>
        </p15:guide>
        <p15:guide id="20" pos="62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17AFF92-115C-1F55-F29E-1ACDE6E8557F}"/>
              </a:ext>
            </a:extLst>
          </p:cNvPr>
          <p:cNvSpPr txBox="1"/>
          <p:nvPr/>
        </p:nvSpPr>
        <p:spPr>
          <a:xfrm>
            <a:off x="1082964" y="5537003"/>
            <a:ext cx="6096000" cy="355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lemental Figure 1. Examples of Combat COVID Communication Materials.</a:t>
            </a:r>
            <a:endParaRPr lang="en-US" sz="10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44" name="Picture 20">
            <a:extLst>
              <a:ext uri="{FF2B5EF4-FFF2-40B4-BE49-F238E27FC236}">
                <a16:creationId xmlns:a16="http://schemas.microsoft.com/office/drawing/2014/main" id="{B809D0F9-7E5C-C07E-7876-1C797067F5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17" t="4671" r="9509" b="20710"/>
          <a:stretch/>
        </p:blipFill>
        <p:spPr bwMode="auto">
          <a:xfrm>
            <a:off x="1185655" y="3429000"/>
            <a:ext cx="3980053" cy="211292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9" name="Picture 25">
            <a:extLst>
              <a:ext uri="{FF2B5EF4-FFF2-40B4-BE49-F238E27FC236}">
                <a16:creationId xmlns:a16="http://schemas.microsoft.com/office/drawing/2014/main" id="{6106BD4D-3440-643F-8DB7-93A58D2ED7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5438" y="650799"/>
            <a:ext cx="3980052" cy="260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1" name="Picture 27">
            <a:extLst>
              <a:ext uri="{FF2B5EF4-FFF2-40B4-BE49-F238E27FC236}">
                <a16:creationId xmlns:a16="http://schemas.microsoft.com/office/drawing/2014/main" id="{5DF87AF8-B929-21E4-5482-9A77B9C3B4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5655" y="650799"/>
            <a:ext cx="4143583" cy="2605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3" name="Picture 29" descr="Diagram&#10;&#10;Description automatically generated">
            <a:extLst>
              <a:ext uri="{FF2B5EF4-FFF2-40B4-BE49-F238E27FC236}">
                <a16:creationId xmlns:a16="http://schemas.microsoft.com/office/drawing/2014/main" id="{E115E6F3-C360-4F90-2608-5B49C404BC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5438" y="3429000"/>
            <a:ext cx="4105314" cy="2112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682236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N4SEoXjPTbimCfMYyO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fPBLZKrlrPQKDp33E2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N4SEoXjPTbimCfMYyO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fPBLZKrlrPQKDp33E2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N4SEoXjPTbimCfMYyOz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N4SEoXjPTbimCfMYyO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fPBLZKrlrPQKDp33E2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N4SEoXjPTbimCfMYyO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fPBLZKrlrPQKDp33E2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fPBLZKrlrPQKDp33E2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N4SEoXjPTbimCfMYyO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fPBLZKrlrPQKDp33E2bg"/>
</p:tagLst>
</file>

<file path=ppt/theme/theme1.xml><?xml version="1.0" encoding="utf-8"?>
<a:theme xmlns:a="http://schemas.openxmlformats.org/drawingml/2006/main" name="2_Deloitte_US_Onscreen">
  <a:themeElements>
    <a:clrScheme name="Custom 1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6393"/>
      </a:accent1>
      <a:accent2>
        <a:srgbClr val="81A041"/>
      </a:accent2>
      <a:accent3>
        <a:srgbClr val="B1C9DE"/>
      </a:accent3>
      <a:accent4>
        <a:srgbClr val="006294"/>
      </a:accent4>
      <a:accent5>
        <a:srgbClr val="80A041"/>
      </a:accent5>
      <a:accent6>
        <a:srgbClr val="63717C"/>
      </a:accent6>
      <a:hlink>
        <a:srgbClr val="0000FF"/>
      </a:hlink>
      <a:folHlink>
        <a:srgbClr val="FF00FF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2.xml><?xml version="1.0" encoding="utf-8"?>
<a:theme xmlns:a="http://schemas.openxmlformats.org/drawingml/2006/main" name="3_Deloitte_US_Onscreen">
  <a:themeElements>
    <a:clrScheme name="Custom 1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6393"/>
      </a:accent1>
      <a:accent2>
        <a:srgbClr val="81A041"/>
      </a:accent2>
      <a:accent3>
        <a:srgbClr val="B1C9DE"/>
      </a:accent3>
      <a:accent4>
        <a:srgbClr val="006294"/>
      </a:accent4>
      <a:accent5>
        <a:srgbClr val="80A041"/>
      </a:accent5>
      <a:accent6>
        <a:srgbClr val="63717C"/>
      </a:accent6>
      <a:hlink>
        <a:srgbClr val="0000FF"/>
      </a:hlink>
      <a:folHlink>
        <a:srgbClr val="FF00FF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3.xml><?xml version="1.0" encoding="utf-8"?>
<a:theme xmlns:a="http://schemas.openxmlformats.org/drawingml/2006/main" name="7_Deloitte_US_Onscreen">
  <a:themeElements>
    <a:clrScheme name="Custom 1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6393"/>
      </a:accent1>
      <a:accent2>
        <a:srgbClr val="81A041"/>
      </a:accent2>
      <a:accent3>
        <a:srgbClr val="B1C9DE"/>
      </a:accent3>
      <a:accent4>
        <a:srgbClr val="006294"/>
      </a:accent4>
      <a:accent5>
        <a:srgbClr val="80A041"/>
      </a:accent5>
      <a:accent6>
        <a:srgbClr val="63717C"/>
      </a:accent6>
      <a:hlink>
        <a:srgbClr val="0000FF"/>
      </a:hlink>
      <a:folHlink>
        <a:srgbClr val="FF00FF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4.xml><?xml version="1.0" encoding="utf-8"?>
<a:theme xmlns:a="http://schemas.openxmlformats.org/drawingml/2006/main" name="5_Deloitte_US_Onscreen">
  <a:themeElements>
    <a:clrScheme name="Custom 1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6393"/>
      </a:accent1>
      <a:accent2>
        <a:srgbClr val="81A041"/>
      </a:accent2>
      <a:accent3>
        <a:srgbClr val="B1C9DE"/>
      </a:accent3>
      <a:accent4>
        <a:srgbClr val="006294"/>
      </a:accent4>
      <a:accent5>
        <a:srgbClr val="80A041"/>
      </a:accent5>
      <a:accent6>
        <a:srgbClr val="63717C"/>
      </a:accent6>
      <a:hlink>
        <a:srgbClr val="0000FF"/>
      </a:hlink>
      <a:folHlink>
        <a:srgbClr val="FF00FF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5.xml><?xml version="1.0" encoding="utf-8"?>
<a:theme xmlns:a="http://schemas.openxmlformats.org/drawingml/2006/main" name="9_Deloitte_US_Onscreen">
  <a:themeElements>
    <a:clrScheme name="Custom 1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6393"/>
      </a:accent1>
      <a:accent2>
        <a:srgbClr val="81A041"/>
      </a:accent2>
      <a:accent3>
        <a:srgbClr val="B1C9DE"/>
      </a:accent3>
      <a:accent4>
        <a:srgbClr val="006294"/>
      </a:accent4>
      <a:accent5>
        <a:srgbClr val="80A041"/>
      </a:accent5>
      <a:accent6>
        <a:srgbClr val="63717C"/>
      </a:accent6>
      <a:hlink>
        <a:srgbClr val="0000FF"/>
      </a:hlink>
      <a:folHlink>
        <a:srgbClr val="FF00FF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6.xml><?xml version="1.0" encoding="utf-8"?>
<a:theme xmlns:a="http://schemas.openxmlformats.org/drawingml/2006/main" name="4_Deloitte_US_Onscreen">
  <a:themeElements>
    <a:clrScheme name="Custom 11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6393"/>
      </a:accent1>
      <a:accent2>
        <a:srgbClr val="81A041"/>
      </a:accent2>
      <a:accent3>
        <a:srgbClr val="B1C9DE"/>
      </a:accent3>
      <a:accent4>
        <a:srgbClr val="006294"/>
      </a:accent4>
      <a:accent5>
        <a:srgbClr val="80A041"/>
      </a:accent5>
      <a:accent6>
        <a:srgbClr val="63717C"/>
      </a:accent6>
      <a:hlink>
        <a:srgbClr val="0000FF"/>
      </a:hlink>
      <a:folHlink>
        <a:srgbClr val="FF00FF"/>
      </a:folHlink>
    </a:clrScheme>
    <a:fontScheme name="Custom 1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>
          <a:spcBef>
            <a:spcPts val="200"/>
          </a:spcBef>
          <a:buSzPct val="100000"/>
          <a:defRPr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5" id="{21219445-7334-4AA3-9246-0115222D80DA}" vid="{F469ED6C-1D06-4A16-8A79-F12014AA15C8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CA1691BFA6BC1459A95C139AFF98A03" ma:contentTypeVersion="16" ma:contentTypeDescription="Create a new document." ma:contentTypeScope="" ma:versionID="c544cef487226b9c5633f1b756be1492">
  <xsd:schema xmlns:xsd="http://www.w3.org/2001/XMLSchema" xmlns:xs="http://www.w3.org/2001/XMLSchema" xmlns:p="http://schemas.microsoft.com/office/2006/metadata/properties" xmlns:ns2="8ea78004-fe4e-4ad3-819d-bf2a9359eed2" xmlns:ns3="73709f45-86e6-48c6-8c4d-776476294d0a" targetNamespace="http://schemas.microsoft.com/office/2006/metadata/properties" ma:root="true" ma:fieldsID="5422944e97cc300fc094126d6812c247" ns2:_="" ns3:_="">
    <xsd:import namespace="8ea78004-fe4e-4ad3-819d-bf2a9359eed2"/>
    <xsd:import namespace="73709f45-86e6-48c6-8c4d-776476294d0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a78004-fe4e-4ad3-819d-bf2a9359ee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709f45-86e6-48c6-8c4d-776476294d0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f0359c6-b2af-4aa1-873d-b5768de6915e}" ma:internalName="TaxCatchAll" ma:showField="CatchAllData" ma:web="73709f45-86e6-48c6-8c4d-776476294d0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3709f45-86e6-48c6-8c4d-776476294d0a">
      <UserInfo>
        <DisplayName>Melton, Serena</DisplayName>
        <AccountId>24</AccountId>
        <AccountType/>
      </UserInfo>
      <UserInfo>
        <DisplayName>Cwalina, Alex</DisplayName>
        <AccountId>25</AccountId>
        <AccountType/>
      </UserInfo>
    </SharedWithUsers>
    <lcf76f155ced4ddcb4097134ff3c332f xmlns="8ea78004-fe4e-4ad3-819d-bf2a9359eed2">
      <Terms xmlns="http://schemas.microsoft.com/office/infopath/2007/PartnerControls"/>
    </lcf76f155ced4ddcb4097134ff3c332f>
    <TaxCatchAll xmlns="73709f45-86e6-48c6-8c4d-776476294d0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A900F38-1605-47AB-AE23-6586E7C586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ea78004-fe4e-4ad3-819d-bf2a9359eed2"/>
    <ds:schemaRef ds:uri="73709f45-86e6-48c6-8c4d-776476294d0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2F03A60-C665-4C0E-835E-7D21E6EE8897}">
  <ds:schemaRefs>
    <ds:schemaRef ds:uri="8ea78004-fe4e-4ad3-819d-bf2a9359eed2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purl.org/dc/dcmitype/"/>
    <ds:schemaRef ds:uri="http://purl.org/dc/elements/1.1/"/>
    <ds:schemaRef ds:uri="http://schemas.microsoft.com/office/infopath/2007/PartnerControls"/>
    <ds:schemaRef ds:uri="73709f45-86e6-48c6-8c4d-776476294d0a"/>
  </ds:schemaRefs>
</ds:datastoreItem>
</file>

<file path=customXml/itemProps3.xml><?xml version="1.0" encoding="utf-8"?>
<ds:datastoreItem xmlns:ds="http://schemas.openxmlformats.org/officeDocument/2006/customXml" ds:itemID="{573569DD-7B97-4D2C-8D4A-0AD2F568FFC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7</TotalTime>
  <Words>12</Words>
  <Application>Microsoft Office PowerPoint</Application>
  <PresentationFormat>Widescreen</PresentationFormat>
  <Paragraphs>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6" baseType="lpstr">
      <vt:lpstr>Arial</vt:lpstr>
      <vt:lpstr>Calibri</vt:lpstr>
      <vt:lpstr>Open Sans</vt:lpstr>
      <vt:lpstr>Open Sans Light</vt:lpstr>
      <vt:lpstr>Open Sans SemiBold</vt:lpstr>
      <vt:lpstr>Segoe UI</vt:lpstr>
      <vt:lpstr>Verdana</vt:lpstr>
      <vt:lpstr>Wingdings 2</vt:lpstr>
      <vt:lpstr>2_Deloitte_US_Onscreen</vt:lpstr>
      <vt:lpstr>3_Deloitte_US_Onscreen</vt:lpstr>
      <vt:lpstr>7_Deloitte_US_Onscreen</vt:lpstr>
      <vt:lpstr>5_Deloitte_US_Onscreen</vt:lpstr>
      <vt:lpstr>9_Deloitte_US_Onscreen</vt:lpstr>
      <vt:lpstr>4_Deloitte_US_Onscreen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ial Patient Populations</dc:title>
  <dc:creator>Nasr, Hana</dc:creator>
  <cp:lastModifiedBy>Adam, Stacey (FNIH) [T]</cp:lastModifiedBy>
  <cp:revision>7</cp:revision>
  <dcterms:created xsi:type="dcterms:W3CDTF">2020-12-04T19:49:45Z</dcterms:created>
  <dcterms:modified xsi:type="dcterms:W3CDTF">2024-05-26T20:1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CA1691BFA6BC1459A95C139AFF98A03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3-02-10T17:45:02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a5c0f2a0-4a55-42ee-bd4a-11973c42f7b7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</Properties>
</file>